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75" r:id="rId2"/>
    <p:sldId id="277" r:id="rId3"/>
    <p:sldId id="279" r:id="rId4"/>
    <p:sldId id="278" r:id="rId5"/>
  </p:sldIdLst>
  <p:sldSz cx="9144000" cy="6858000" type="screen4x3"/>
  <p:notesSz cx="7099300" cy="1023461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717" autoAdjust="0"/>
  </p:normalViewPr>
  <p:slideViewPr>
    <p:cSldViewPr>
      <p:cViewPr>
        <p:scale>
          <a:sx n="67" d="100"/>
          <a:sy n="67" d="100"/>
        </p:scale>
        <p:origin x="1188" y="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ost, Marcel" userId="5b10a161-349a-4de1-b3a3-ce9e3be6a272" providerId="ADAL" clId="{BF5EDCD3-6C5A-4297-B0CC-A15A0223EF0D}"/>
    <pc:docChg chg="undo redo custSel modSld sldOrd">
      <pc:chgData name="Frost, Marcel" userId="5b10a161-349a-4de1-b3a3-ce9e3be6a272" providerId="ADAL" clId="{BF5EDCD3-6C5A-4297-B0CC-A15A0223EF0D}" dt="2025-01-24T11:01:15.063" v="582"/>
      <pc:docMkLst>
        <pc:docMk/>
      </pc:docMkLst>
      <pc:sldChg chg="addSp delSp modSp mod">
        <pc:chgData name="Frost, Marcel" userId="5b10a161-349a-4de1-b3a3-ce9e3be6a272" providerId="ADAL" clId="{BF5EDCD3-6C5A-4297-B0CC-A15A0223EF0D}" dt="2025-01-24T11:01:15.063" v="582"/>
        <pc:sldMkLst>
          <pc:docMk/>
          <pc:sldMk cId="1189022260" sldId="275"/>
        </pc:sldMkLst>
        <pc:spChg chg="add mod">
          <ac:chgData name="Frost, Marcel" userId="5b10a161-349a-4de1-b3a3-ce9e3be6a272" providerId="ADAL" clId="{BF5EDCD3-6C5A-4297-B0CC-A15A0223EF0D}" dt="2025-01-24T11:01:15.063" v="582"/>
          <ac:spMkLst>
            <pc:docMk/>
            <pc:sldMk cId="1189022260" sldId="275"/>
            <ac:spMk id="24" creationId="{B455EEFB-0DB3-5165-42A4-4230AAAF0E97}"/>
          </ac:spMkLst>
        </pc:spChg>
        <pc:picChg chg="add del mod">
          <ac:chgData name="Frost, Marcel" userId="5b10a161-349a-4de1-b3a3-ce9e3be6a272" providerId="ADAL" clId="{BF5EDCD3-6C5A-4297-B0CC-A15A0223EF0D}" dt="2025-01-24T10:50:33.093" v="235" actId="478"/>
          <ac:picMkLst>
            <pc:docMk/>
            <pc:sldMk cId="1189022260" sldId="275"/>
            <ac:picMk id="17" creationId="{43D815AB-6FFB-0B95-5751-49B10D4665B1}"/>
          </ac:picMkLst>
        </pc:picChg>
        <pc:picChg chg="add del mod">
          <ac:chgData name="Frost, Marcel" userId="5b10a161-349a-4de1-b3a3-ce9e3be6a272" providerId="ADAL" clId="{BF5EDCD3-6C5A-4297-B0CC-A15A0223EF0D}" dt="2025-01-24T10:50:33.093" v="235" actId="478"/>
          <ac:picMkLst>
            <pc:docMk/>
            <pc:sldMk cId="1189022260" sldId="275"/>
            <ac:picMk id="19" creationId="{F6ED15D7-4CB8-B08B-D1F9-D296DC1B3295}"/>
          </ac:picMkLst>
        </pc:picChg>
        <pc:picChg chg="add del mod">
          <ac:chgData name="Frost, Marcel" userId="5b10a161-349a-4de1-b3a3-ce9e3be6a272" providerId="ADAL" clId="{BF5EDCD3-6C5A-4297-B0CC-A15A0223EF0D}" dt="2025-01-24T10:50:33.093" v="235" actId="478"/>
          <ac:picMkLst>
            <pc:docMk/>
            <pc:sldMk cId="1189022260" sldId="275"/>
            <ac:picMk id="21" creationId="{589D9EAE-0D10-90F7-FCD4-17745B9A738A}"/>
          </ac:picMkLst>
        </pc:picChg>
        <pc:picChg chg="add del mod">
          <ac:chgData name="Frost, Marcel" userId="5b10a161-349a-4de1-b3a3-ce9e3be6a272" providerId="ADAL" clId="{BF5EDCD3-6C5A-4297-B0CC-A15A0223EF0D}" dt="2025-01-24T10:50:33.093" v="235" actId="478"/>
          <ac:picMkLst>
            <pc:docMk/>
            <pc:sldMk cId="1189022260" sldId="275"/>
            <ac:picMk id="23" creationId="{004138AB-2985-CB99-771E-9509BF4E94D8}"/>
          </ac:picMkLst>
        </pc:picChg>
      </pc:sldChg>
      <pc:sldChg chg="addSp delSp modSp mod">
        <pc:chgData name="Frost, Marcel" userId="5b10a161-349a-4de1-b3a3-ce9e3be6a272" providerId="ADAL" clId="{BF5EDCD3-6C5A-4297-B0CC-A15A0223EF0D}" dt="2025-01-24T10:46:50.249" v="120" actId="20577"/>
        <pc:sldMkLst>
          <pc:docMk/>
          <pc:sldMk cId="2759013131" sldId="277"/>
        </pc:sldMkLst>
        <pc:spChg chg="mod">
          <ac:chgData name="Frost, Marcel" userId="5b10a161-349a-4de1-b3a3-ce9e3be6a272" providerId="ADAL" clId="{BF5EDCD3-6C5A-4297-B0CC-A15A0223EF0D}" dt="2025-01-24T10:39:15.442" v="14" actId="948"/>
          <ac:spMkLst>
            <pc:docMk/>
            <pc:sldMk cId="2759013131" sldId="277"/>
            <ac:spMk id="2" creationId="{893E6468-5388-5489-14EC-A490E13F35B7}"/>
          </ac:spMkLst>
        </pc:spChg>
        <pc:spChg chg="mod">
          <ac:chgData name="Frost, Marcel" userId="5b10a161-349a-4de1-b3a3-ce9e3be6a272" providerId="ADAL" clId="{BF5EDCD3-6C5A-4297-B0CC-A15A0223EF0D}" dt="2025-01-24T10:46:50.249" v="120" actId="20577"/>
          <ac:spMkLst>
            <pc:docMk/>
            <pc:sldMk cId="2759013131" sldId="277"/>
            <ac:spMk id="3" creationId="{74114C64-B91A-3486-2CAE-2E3E574AE6CD}"/>
          </ac:spMkLst>
        </pc:spChg>
        <pc:spChg chg="add del mod modVis">
          <ac:chgData name="Frost, Marcel" userId="5b10a161-349a-4de1-b3a3-ce9e3be6a272" providerId="ADAL" clId="{BF5EDCD3-6C5A-4297-B0CC-A15A0223EF0D}" dt="2025-01-24T10:39:15.451" v="37"/>
          <ac:spMkLst>
            <pc:docMk/>
            <pc:sldMk cId="2759013131" sldId="277"/>
            <ac:spMk id="4" creationId="{30A4D2D6-2DE7-E7D5-0874-E351F4E6ACDB}"/>
          </ac:spMkLst>
        </pc:spChg>
        <pc:graphicFrameChg chg="add mod ord modVis">
          <ac:chgData name="Frost, Marcel" userId="5b10a161-349a-4de1-b3a3-ce9e3be6a272" providerId="ADAL" clId="{BF5EDCD3-6C5A-4297-B0CC-A15A0223EF0D}" dt="2025-01-24T10:39:15.482" v="51"/>
          <ac:graphicFrameMkLst>
            <pc:docMk/>
            <pc:sldMk cId="2759013131" sldId="277"/>
            <ac:graphicFrameMk id="5" creationId="{7C60DFAA-6ED8-7842-ACC3-9930008BDC75}"/>
          </ac:graphicFrameMkLst>
        </pc:graphicFrameChg>
        <pc:picChg chg="add mod">
          <ac:chgData name="Frost, Marcel" userId="5b10a161-349a-4de1-b3a3-ce9e3be6a272" providerId="ADAL" clId="{BF5EDCD3-6C5A-4297-B0CC-A15A0223EF0D}" dt="2025-01-24T10:46:09.053" v="116" actId="1076"/>
          <ac:picMkLst>
            <pc:docMk/>
            <pc:sldMk cId="2759013131" sldId="277"/>
            <ac:picMk id="6" creationId="{BC4A12F1-6E81-E43C-8431-E39E5231CED2}"/>
          </ac:picMkLst>
        </pc:picChg>
      </pc:sldChg>
      <pc:sldChg chg="addSp delSp modSp mod">
        <pc:chgData name="Frost, Marcel" userId="5b10a161-349a-4de1-b3a3-ce9e3be6a272" providerId="ADAL" clId="{BF5EDCD3-6C5A-4297-B0CC-A15A0223EF0D}" dt="2025-01-24T10:50:24.716" v="234"/>
        <pc:sldMkLst>
          <pc:docMk/>
          <pc:sldMk cId="1904011533" sldId="278"/>
        </pc:sldMkLst>
        <pc:spChg chg="mod">
          <ac:chgData name="Frost, Marcel" userId="5b10a161-349a-4de1-b3a3-ce9e3be6a272" providerId="ADAL" clId="{BF5EDCD3-6C5A-4297-B0CC-A15A0223EF0D}" dt="2025-01-24T10:50:24.669" v="197" actId="948"/>
          <ac:spMkLst>
            <pc:docMk/>
            <pc:sldMk cId="1904011533" sldId="278"/>
            <ac:spMk id="2" creationId="{D7BC3871-DAB6-3BA1-94B8-F878EB712851}"/>
          </ac:spMkLst>
        </pc:spChg>
        <pc:spChg chg="mod">
          <ac:chgData name="Frost, Marcel" userId="5b10a161-349a-4de1-b3a3-ce9e3be6a272" providerId="ADAL" clId="{BF5EDCD3-6C5A-4297-B0CC-A15A0223EF0D}" dt="2025-01-24T10:49:22.302" v="152" actId="20578"/>
          <ac:spMkLst>
            <pc:docMk/>
            <pc:sldMk cId="1904011533" sldId="278"/>
            <ac:spMk id="3" creationId="{7FCB77B6-7994-A7F3-6CE8-C8C3F97A5E60}"/>
          </ac:spMkLst>
        </pc:spChg>
        <pc:spChg chg="add del mod modVis">
          <ac:chgData name="Frost, Marcel" userId="5b10a161-349a-4de1-b3a3-ce9e3be6a272" providerId="ADAL" clId="{BF5EDCD3-6C5A-4297-B0CC-A15A0223EF0D}" dt="2025-01-24T10:50:24.700" v="220"/>
          <ac:spMkLst>
            <pc:docMk/>
            <pc:sldMk cId="1904011533" sldId="278"/>
            <ac:spMk id="6" creationId="{A77F9CD6-B861-02F1-2941-43A13DFDC856}"/>
          </ac:spMkLst>
        </pc:spChg>
        <pc:graphicFrameChg chg="add mod ord modVis">
          <ac:chgData name="Frost, Marcel" userId="5b10a161-349a-4de1-b3a3-ce9e3be6a272" providerId="ADAL" clId="{BF5EDCD3-6C5A-4297-B0CC-A15A0223EF0D}" dt="2025-01-24T10:50:24.716" v="234"/>
          <ac:graphicFrameMkLst>
            <pc:docMk/>
            <pc:sldMk cId="1904011533" sldId="278"/>
            <ac:graphicFrameMk id="7" creationId="{EDCE981B-D4BC-7984-6AD3-1685E4DE0C46}"/>
          </ac:graphicFrameMkLst>
        </pc:graphicFrameChg>
        <pc:picChg chg="add mod">
          <ac:chgData name="Frost, Marcel" userId="5b10a161-349a-4de1-b3a3-ce9e3be6a272" providerId="ADAL" clId="{BF5EDCD3-6C5A-4297-B0CC-A15A0223EF0D}" dt="2025-01-24T10:49:29.658" v="153"/>
          <ac:picMkLst>
            <pc:docMk/>
            <pc:sldMk cId="1904011533" sldId="278"/>
            <ac:picMk id="4" creationId="{22BEC8DC-2A71-A525-D5DA-5F6021138564}"/>
          </ac:picMkLst>
        </pc:picChg>
        <pc:picChg chg="add mod">
          <ac:chgData name="Frost, Marcel" userId="5b10a161-349a-4de1-b3a3-ce9e3be6a272" providerId="ADAL" clId="{BF5EDCD3-6C5A-4297-B0CC-A15A0223EF0D}" dt="2025-01-24T10:49:55.531" v="156" actId="14100"/>
          <ac:picMkLst>
            <pc:docMk/>
            <pc:sldMk cId="1904011533" sldId="278"/>
            <ac:picMk id="5" creationId="{7543AF8E-5E9E-92E6-5808-D66CC7740109}"/>
          </ac:picMkLst>
        </pc:picChg>
      </pc:sldChg>
      <pc:sldChg chg="addSp delSp modSp mod ord">
        <pc:chgData name="Frost, Marcel" userId="5b10a161-349a-4de1-b3a3-ce9e3be6a272" providerId="ADAL" clId="{BF5EDCD3-6C5A-4297-B0CC-A15A0223EF0D}" dt="2025-01-24T10:54:29.462" v="364" actId="20577"/>
        <pc:sldMkLst>
          <pc:docMk/>
          <pc:sldMk cId="2902210122" sldId="279"/>
        </pc:sldMkLst>
        <pc:spChg chg="mod">
          <ac:chgData name="Frost, Marcel" userId="5b10a161-349a-4de1-b3a3-ce9e3be6a272" providerId="ADAL" clId="{BF5EDCD3-6C5A-4297-B0CC-A15A0223EF0D}" dt="2025-01-24T10:50:19.628" v="158" actId="948"/>
          <ac:spMkLst>
            <pc:docMk/>
            <pc:sldMk cId="2902210122" sldId="279"/>
            <ac:spMk id="2" creationId="{C795AD32-6388-4928-92C4-E3F2E1B7CE80}"/>
          </ac:spMkLst>
        </pc:spChg>
        <pc:spChg chg="mod">
          <ac:chgData name="Frost, Marcel" userId="5b10a161-349a-4de1-b3a3-ce9e3be6a272" providerId="ADAL" clId="{BF5EDCD3-6C5A-4297-B0CC-A15A0223EF0D}" dt="2025-01-24T10:54:29.462" v="364" actId="20577"/>
          <ac:spMkLst>
            <pc:docMk/>
            <pc:sldMk cId="2902210122" sldId="279"/>
            <ac:spMk id="3" creationId="{C048A9ED-3F25-B826-88A8-E29B9AE17C6D}"/>
          </ac:spMkLst>
        </pc:spChg>
        <pc:spChg chg="add del mod modVis">
          <ac:chgData name="Frost, Marcel" userId="5b10a161-349a-4de1-b3a3-ce9e3be6a272" providerId="ADAL" clId="{BF5EDCD3-6C5A-4297-B0CC-A15A0223EF0D}" dt="2025-01-24T10:50:19.647" v="181"/>
          <ac:spMkLst>
            <pc:docMk/>
            <pc:sldMk cId="2902210122" sldId="279"/>
            <ac:spMk id="5" creationId="{5A03C91A-1E21-1F7C-6AE5-D01B0CC4B4C1}"/>
          </ac:spMkLst>
        </pc:spChg>
        <pc:graphicFrameChg chg="add mod ord modVis">
          <ac:chgData name="Frost, Marcel" userId="5b10a161-349a-4de1-b3a3-ce9e3be6a272" providerId="ADAL" clId="{BF5EDCD3-6C5A-4297-B0CC-A15A0223EF0D}" dt="2025-01-24T10:50:19.660" v="195"/>
          <ac:graphicFrameMkLst>
            <pc:docMk/>
            <pc:sldMk cId="2902210122" sldId="279"/>
            <ac:graphicFrameMk id="6" creationId="{4498EFE4-1C54-2D6C-B7A3-F8781FCD19C1}"/>
          </ac:graphicFrameMkLst>
        </pc:graphicFrameChg>
        <pc:picChg chg="add mod">
          <ac:chgData name="Frost, Marcel" userId="5b10a161-349a-4de1-b3a3-ce9e3be6a272" providerId="ADAL" clId="{BF5EDCD3-6C5A-4297-B0CC-A15A0223EF0D}" dt="2025-01-24T10:48:01.158" v="140" actId="14100"/>
          <ac:picMkLst>
            <pc:docMk/>
            <pc:sldMk cId="2902210122" sldId="279"/>
            <ac:picMk id="4" creationId="{376E77A8-5689-6654-2C16-DA4E3F9BE17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de-DE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FE7038B8-EB2F-490E-BA20-BA7DD79447F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430F2AF0-E82C-4AA5-84E1-3C99B28EEAE8}" type="datetimeFigureOut">
              <a:rPr lang="de-DE" smtClean="0"/>
              <a:pPr/>
              <a:t>24.0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5E2EEF22-5F5B-4C7B-822B-AB9F92452364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111CDA-006F-8D65-BFC5-1B91FC73C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1FAD61C-074B-161C-0B54-0EB34CDDD4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6A0B428-68A7-C6C7-9837-A3900321FF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3505FA-17DB-53DA-BFE5-3E35F964D2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2EEF22-5F5B-4C7B-822B-AB9F9245236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835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B0AE9-A4AA-696A-AE2B-94CD443AA5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50030F8-2F2A-F836-9B38-F2EAECD6BC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076D296-D35C-8CB8-AEC2-CD9E1B9A24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04A0D-02B0-B982-4E4D-6B52DAE923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2EEF22-5F5B-4C7B-822B-AB9F92452364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9678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B8C247-EF63-B4BA-04B0-1ACF2B6EC2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4924505-33CF-14A5-8662-C64143C30D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51AAA77-747E-D045-AEE3-C50F673FB7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137F4C-840D-362B-7A2E-72F5AA81F2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2EEF22-5F5B-4C7B-822B-AB9F92452364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608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CA2B9D-ED59-8F93-9163-9EDC01F090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481FB62-8E74-3005-FF6F-F71C33DC54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F0019DC-5E15-A5BF-0F32-CCACC39F2A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6FAC7A-6614-F0EE-42E2-F826949D71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2EEF22-5F5B-4C7B-822B-AB9F92452364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7593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DCEA50-48CB-41CD-8B60-5085907A259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105581-1864-4B34-955B-04D657473C2B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3FEA94-0B32-48EC-B29A-37D0FE032EBB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36AD790D-CA59-478A-AE5A-E661A9602E66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243C14F-A34F-490E-B310-955255E31062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9BD47E-C1E9-431E-A870-A98B26604B9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3A8BB1C-0400-48B8-84B4-2211998A7B37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CD3D05-2364-475A-A1DD-0AB60A99A8A1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69E95C-FA51-4C30-8C4C-90D975DF536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BC514F-329C-4F9A-831E-0813695A092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37C1DF-0DAC-4686-B4F5-D77C430466E9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71AD50-E008-4CB6-8328-6F4277782D01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0C60A0-A6D3-5C79-D03E-422ED1A83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4800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26" imgH="426" progId="TCLayout.ActiveDocument.1">
                  <p:embed/>
                </p:oleObj>
              </mc:Choice>
              <mc:Fallback>
                <p:oleObj name="think-cell Folie" r:id="rId15" imgW="426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0C60A0-A6D3-5C79-D03E-422ED1A83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275244D5-63CE-4407-ADE2-EEDAEB88F2B6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0"/>
            <a:ext cx="9144000" cy="1430338"/>
          </a:xfrm>
          <a:prstGeom prst="rect">
            <a:avLst/>
          </a:prstGeom>
          <a:noFill/>
        </p:spPr>
      </p:pic>
      <p:pic>
        <p:nvPicPr>
          <p:cNvPr id="1032" name="Picture 8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676525" y="1447800"/>
            <a:ext cx="3789363" cy="4495800"/>
          </a:xfrm>
          <a:prstGeom prst="rect">
            <a:avLst/>
          </a:prstGeom>
          <a:noFill/>
        </p:spPr>
      </p:pic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6367463"/>
            <a:ext cx="9144000" cy="49053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>
    <p:dissolve/>
  </p:transition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FDBFE-3366-7688-3614-582DBEB68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1DD38F-8714-7441-0113-66EF25E367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581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6" imgH="426" progId="TCLayout.ActiveDocument.1">
                  <p:embed/>
                </p:oleObj>
              </mc:Choice>
              <mc:Fallback>
                <p:oleObj name="think-cell Folie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1DD38F-8714-7441-0113-66EF25E36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18ECEE-F854-69B1-A870-5B7FE2155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92845"/>
            <a:ext cx="7772400" cy="859891"/>
          </a:xfrm>
        </p:spPr>
        <p:txBody>
          <a:bodyPr vert="horz"/>
          <a:lstStyle/>
          <a:p>
            <a:pPr algn="l"/>
            <a:r>
              <a:rPr lang="de-DE" sz="3600" b="1" dirty="0">
                <a:ea typeface="Tahoma" pitchFamily="34" charset="0"/>
                <a:cs typeface="Arial" pitchFamily="34" charset="0"/>
              </a:rPr>
              <a:t>Judogi (ab Gruppenebene U15)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455EEFB-0DB3-5165-42A4-4230AAAF0E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1484784"/>
            <a:ext cx="8568952" cy="4896544"/>
          </a:xfrm>
        </p:spPr>
        <p:txBody>
          <a:bodyPr lIns="72000" rIns="72000" anchor="t"/>
          <a:lstStyle/>
          <a:p>
            <a:r>
              <a:rPr lang="de-DE" sz="2400" dirty="0">
                <a:solidFill>
                  <a:srgbClr val="000000"/>
                </a:solidFill>
                <a:latin typeface="+mj-lt"/>
              </a:rPr>
              <a:t>g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+mj-lt"/>
              </a:rPr>
              <a:t>ültig ab 01.01.2025</a:t>
            </a:r>
          </a:p>
          <a:p>
            <a:endParaRPr lang="de-DE" sz="2400" b="0" i="0" dirty="0">
              <a:solidFill>
                <a:srgbClr val="000000"/>
              </a:solidFill>
              <a:effectLst/>
              <a:latin typeface="+mj-lt"/>
            </a:endParaRPr>
          </a:p>
          <a:p>
            <a:r>
              <a:rPr lang="de-DE" sz="2400" dirty="0">
                <a:solidFill>
                  <a:srgbClr val="000000"/>
                </a:solidFill>
                <a:latin typeface="+mj-lt"/>
              </a:rPr>
              <a:t>ab DJB-</a:t>
            </a:r>
            <a:r>
              <a:rPr lang="de-DE" sz="2400" dirty="0" err="1">
                <a:solidFill>
                  <a:srgbClr val="000000"/>
                </a:solidFill>
                <a:latin typeface="+mj-lt"/>
              </a:rPr>
              <a:t>Gruppenenbene</a:t>
            </a:r>
            <a:endParaRPr lang="de-DE" sz="2400" dirty="0">
              <a:solidFill>
                <a:srgbClr val="000000"/>
              </a:solidFill>
              <a:latin typeface="+mj-lt"/>
            </a:endParaRPr>
          </a:p>
          <a:p>
            <a:endParaRPr lang="de-DE" sz="2400" dirty="0">
              <a:solidFill>
                <a:srgbClr val="000000"/>
              </a:solidFill>
              <a:latin typeface="+mj-lt"/>
            </a:endParaRPr>
          </a:p>
          <a:p>
            <a:r>
              <a:rPr lang="de-DE" sz="2400" dirty="0">
                <a:solidFill>
                  <a:srgbClr val="000000"/>
                </a:solidFill>
                <a:latin typeface="+mj-lt"/>
              </a:rPr>
              <a:t>ab der Altersklasse U15 und älter</a:t>
            </a:r>
          </a:p>
          <a:p>
            <a:pPr marL="0" indent="0">
              <a:buNone/>
            </a:pPr>
            <a:endParaRPr lang="de-DE" sz="2400" dirty="0">
              <a:solidFill>
                <a:srgbClr val="000000"/>
              </a:solidFill>
              <a:latin typeface="+mj-lt"/>
            </a:endParaRPr>
          </a:p>
          <a:p>
            <a:r>
              <a:rPr lang="de-DE" sz="2400" b="1" dirty="0">
                <a:solidFill>
                  <a:srgbClr val="000000"/>
                </a:solidFill>
                <a:latin typeface="+mj-lt"/>
              </a:rPr>
              <a:t>Verfahrensweise</a:t>
            </a:r>
            <a:r>
              <a:rPr lang="de-DE" sz="2400" dirty="0">
                <a:solidFill>
                  <a:srgbClr val="000000"/>
                </a:solidFill>
                <a:latin typeface="+mj-lt"/>
              </a:rPr>
              <a:t> bei einem nicht regelkonformen Judogi: </a:t>
            </a:r>
          </a:p>
          <a:p>
            <a:pPr lvl="1"/>
            <a:r>
              <a:rPr lang="de-DE" sz="2400" b="1" dirty="0">
                <a:solidFill>
                  <a:srgbClr val="000000"/>
                </a:solidFill>
                <a:latin typeface="+mj-lt"/>
              </a:rPr>
              <a:t>bis einschließlich U15: </a:t>
            </a:r>
            <a:r>
              <a:rPr lang="de-DE" sz="2400" dirty="0">
                <a:solidFill>
                  <a:srgbClr val="000000"/>
                </a:solidFill>
                <a:latin typeface="+mj-lt"/>
              </a:rPr>
              <a:t>einmal am Wettkampftag wechseln, im Wiederholungsfall direktes </a:t>
            </a:r>
            <a:r>
              <a:rPr lang="de-DE" sz="2400" dirty="0" err="1">
                <a:solidFill>
                  <a:srgbClr val="000000"/>
                </a:solidFill>
                <a:latin typeface="+mj-lt"/>
              </a:rPr>
              <a:t>Hansoku-make</a:t>
            </a:r>
            <a:r>
              <a:rPr lang="de-DE" sz="2400" dirty="0">
                <a:solidFill>
                  <a:srgbClr val="000000"/>
                </a:solidFill>
                <a:latin typeface="+mj-lt"/>
              </a:rPr>
              <a:t> und Turnierausschluss</a:t>
            </a:r>
          </a:p>
          <a:p>
            <a:pPr lvl="1"/>
            <a:r>
              <a:rPr lang="de-DE" sz="2400" b="1" dirty="0">
                <a:solidFill>
                  <a:srgbClr val="000000"/>
                </a:solidFill>
                <a:latin typeface="+mj-lt"/>
              </a:rPr>
              <a:t>ab U18: </a:t>
            </a:r>
            <a:r>
              <a:rPr lang="de-DE" sz="2400" dirty="0">
                <a:solidFill>
                  <a:srgbClr val="000000"/>
                </a:solidFill>
                <a:latin typeface="+mj-lt"/>
              </a:rPr>
              <a:t>direktes </a:t>
            </a:r>
            <a:r>
              <a:rPr lang="de-DE" sz="2400" dirty="0" err="1">
                <a:solidFill>
                  <a:srgbClr val="000000"/>
                </a:solidFill>
                <a:latin typeface="+mj-lt"/>
              </a:rPr>
              <a:t>Hansoku-make</a:t>
            </a:r>
            <a:r>
              <a:rPr lang="de-DE" sz="2400" dirty="0">
                <a:solidFill>
                  <a:srgbClr val="000000"/>
                </a:solidFill>
                <a:latin typeface="+mj-lt"/>
              </a:rPr>
              <a:t> und Turnierausschluss</a:t>
            </a:r>
          </a:p>
        </p:txBody>
      </p:sp>
    </p:spTree>
    <p:extLst>
      <p:ext uri="{BB962C8B-B14F-4D97-AF65-F5344CB8AC3E}">
        <p14:creationId xmlns:p14="http://schemas.microsoft.com/office/powerpoint/2010/main" val="118902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701C5E-8DF8-43DC-487B-FC923DC44C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C60DFAA-6ED8-7842-ACC3-9930008BD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04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6" imgH="426" progId="TCLayout.ActiveDocument.1">
                  <p:embed/>
                </p:oleObj>
              </mc:Choice>
              <mc:Fallback>
                <p:oleObj name="think-cell Folie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60DFAA-6ED8-7842-ACC3-9930008BD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3E6468-5388-5489-14EC-A490E13F3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92845"/>
            <a:ext cx="7772400" cy="859891"/>
          </a:xfrm>
        </p:spPr>
        <p:txBody>
          <a:bodyPr vert="horz"/>
          <a:lstStyle/>
          <a:p>
            <a:pPr algn="l"/>
            <a:r>
              <a:rPr lang="de-DE" sz="3600" b="1" dirty="0">
                <a:ea typeface="Tahoma" pitchFamily="34" charset="0"/>
                <a:cs typeface="Arial" pitchFamily="34" charset="0"/>
              </a:rPr>
              <a:t>Judogi (ab Gruppenebene U15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114C64-B91A-3486-2CAE-2E3E574AE6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1484784"/>
            <a:ext cx="5616624" cy="4896544"/>
          </a:xfrm>
        </p:spPr>
        <p:txBody>
          <a:bodyPr lIns="72000" rIns="72000" anchor="t"/>
          <a:lstStyle/>
          <a:p>
            <a:pPr marL="0" indent="0" algn="l" fontAlgn="base">
              <a:buNone/>
            </a:pPr>
            <a:r>
              <a:rPr lang="de-DE" sz="1400" b="1" i="0" u="sng" dirty="0">
                <a:solidFill>
                  <a:srgbClr val="000000"/>
                </a:solidFill>
                <a:effectLst/>
                <a:latin typeface="+mj-lt"/>
              </a:rPr>
              <a:t>Jacke I:</a:t>
            </a:r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Die Jacke muss das Gesäß vollständig bedecken. Die Länge der Jacke muss vorne und hinten gleich lang sein. Zur Überprüfung dessen wird die Länge der Judogi-Jacke von der Vorderseite des Athleten mit einem </a:t>
            </a:r>
            <a:r>
              <a:rPr lang="de-DE" sz="1400" b="0" i="0" dirty="0" err="1">
                <a:solidFill>
                  <a:srgbClr val="000000"/>
                </a:solidFill>
                <a:effectLst/>
                <a:latin typeface="+mj-lt"/>
              </a:rPr>
              <a:t>Sokuteiki</a:t>
            </a:r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 gemessen. Die Länge des Jackenrocks unterhalb des Gürtels, der in der Taille oberhalb des Hüftknochens zu tragen und sehr eng zu schnüren ist, muss wie folgt gemessen werden:</a:t>
            </a:r>
          </a:p>
          <a:p>
            <a:pPr algn="l" fontAlgn="base"/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Alle Judoka bis 73 kg*: mindestens 20 cm</a:t>
            </a:r>
          </a:p>
          <a:p>
            <a:pPr marL="0" indent="0" algn="l" fontAlgn="base">
              <a:buNone/>
            </a:pPr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	* bis 73 kg: -48, -52, -57, -63, -70, -60, -66, -73 kg</a:t>
            </a: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Alle Judoka über 73 kg*: mindestens 25 cm</a:t>
            </a:r>
          </a:p>
          <a:p>
            <a:pPr marL="0" indent="0" algn="l" fontAlgn="base">
              <a:buNone/>
            </a:pPr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	* über 73 kg: 78, +78, -81, -90, -100, +100 kg</a:t>
            </a:r>
          </a:p>
          <a:p>
            <a:pPr marL="0" indent="0" algn="l" fontAlgn="base">
              <a:buNone/>
            </a:pPr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Bei waagerecht gehaltenen Armen muss der </a:t>
            </a:r>
            <a:r>
              <a:rPr lang="de-DE" sz="1400" b="0" i="0" dirty="0" err="1">
                <a:solidFill>
                  <a:srgbClr val="000000"/>
                </a:solidFill>
                <a:effectLst/>
                <a:latin typeface="+mj-lt"/>
              </a:rPr>
              <a:t>Sokuteiki</a:t>
            </a:r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 vollständig und reibungslos in die Ärmel gleiten. Die Judogi-Ärmel müssen den gesamten Arm einschließlich des Handgelenks bedecken.</a:t>
            </a:r>
          </a:p>
          <a:p>
            <a:pPr marL="0" indent="0" algn="l" fontAlgn="base">
              <a:buNone/>
            </a:pPr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C4A12F1-6E81-E43C-8431-E39E5231CE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0152" y="1772816"/>
            <a:ext cx="3139114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01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245E4A-041B-2684-DC9C-0AE9F3CB4D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498EFE4-1C54-2D6C-B7A3-F8781FCD19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375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6" imgH="426" progId="TCLayout.ActiveDocument.1">
                  <p:embed/>
                </p:oleObj>
              </mc:Choice>
              <mc:Fallback>
                <p:oleObj name="think-cell Folie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98EFE4-1C54-2D6C-B7A3-F8781FCD1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95AD32-6388-4928-92C4-E3F2E1B7C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92845"/>
            <a:ext cx="7772400" cy="859891"/>
          </a:xfrm>
        </p:spPr>
        <p:txBody>
          <a:bodyPr vert="horz"/>
          <a:lstStyle/>
          <a:p>
            <a:pPr algn="l"/>
            <a:r>
              <a:rPr lang="de-DE" sz="3600" b="1" dirty="0">
                <a:ea typeface="Tahoma" pitchFamily="34" charset="0"/>
                <a:cs typeface="Arial" pitchFamily="34" charset="0"/>
              </a:rPr>
              <a:t>Judogi (ab Gruppenebene U15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048A9ED-3F25-B826-88A8-E29B9AE17C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1412776"/>
            <a:ext cx="5328592" cy="4968552"/>
          </a:xfrm>
        </p:spPr>
        <p:txBody>
          <a:bodyPr lIns="72000" rIns="72000" anchor="t"/>
          <a:lstStyle/>
          <a:p>
            <a:pPr marL="0" indent="0" algn="l" fontAlgn="base">
              <a:buNone/>
            </a:pPr>
            <a:r>
              <a:rPr lang="de-DE" sz="1400" b="1" i="0" u="sng" dirty="0">
                <a:solidFill>
                  <a:srgbClr val="000000"/>
                </a:solidFill>
                <a:effectLst/>
                <a:latin typeface="+mj-lt"/>
              </a:rPr>
              <a:t>Jacke II:</a:t>
            </a:r>
          </a:p>
          <a:p>
            <a:pPr algn="l" fontAlgn="base"/>
            <a:endParaRPr lang="de-DE" sz="1400" dirty="0">
              <a:solidFill>
                <a:srgbClr val="000000"/>
              </a:solidFill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Der Abstand der Kreuzungspunkte der Jacke in Höhe des Gürtels muss mindestens 25 cm betragen. Der Gürtel sollte knapp über dem Hüftknochen getragen werden und fest verschnürt sein.</a:t>
            </a:r>
          </a:p>
          <a:p>
            <a:pPr algn="l" fontAlgn="base"/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Die Dicke der Reversseite darf nicht mehr als 1 cm betragen.</a:t>
            </a:r>
          </a:p>
          <a:p>
            <a:pPr algn="l" fontAlgn="base"/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Die Breite der Reversseite muss 4 cm oder max. 5 Reihen Steppnähte (international nur 4cm) betragen.</a:t>
            </a:r>
          </a:p>
          <a:p>
            <a:pPr algn="l" fontAlgn="base"/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Der Abstand zwischen dem oberen Teil des Brustbeins und dem vertikalen Schnittpunkt des Revers der Jacke muss weniger als 10 cm betragen.</a:t>
            </a:r>
          </a:p>
          <a:p>
            <a:pPr marL="0" lvl="0" indent="0">
              <a:buNone/>
            </a:pPr>
            <a:endParaRPr lang="de-DE" sz="1400" b="0" i="0" dirty="0">
              <a:solidFill>
                <a:srgbClr val="ED5C57"/>
              </a:solidFill>
              <a:effectLst/>
              <a:latin typeface="+mj-lt"/>
            </a:endParaRPr>
          </a:p>
          <a:p>
            <a:pPr marL="0" indent="0">
              <a:buNone/>
            </a:pPr>
            <a:endParaRPr lang="de-DE" sz="1400" dirty="0">
              <a:latin typeface="+mj-lt"/>
              <a:ea typeface="Tahoma" pitchFamily="34" charset="0"/>
              <a:cs typeface="Calibri" panose="020F050202020403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6E77A8-5689-6654-2C16-DA4E3F9BE1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8286" y="1628800"/>
            <a:ext cx="2788210" cy="410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21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640025-7B2C-B544-325E-A5DBC649D9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DCE981B-D4BC-7984-6AD3-1685E4DE0C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03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6" imgH="426" progId="TCLayout.ActiveDocument.1">
                  <p:embed/>
                </p:oleObj>
              </mc:Choice>
              <mc:Fallback>
                <p:oleObj name="think-cell Folie" r:id="rId4" imgW="426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CE981B-D4BC-7984-6AD3-1685E4DE0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7BC3871-DAB6-3BA1-94B8-F878EB712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92845"/>
            <a:ext cx="7772400" cy="859891"/>
          </a:xfrm>
        </p:spPr>
        <p:txBody>
          <a:bodyPr vert="horz"/>
          <a:lstStyle/>
          <a:p>
            <a:pPr algn="l"/>
            <a:r>
              <a:rPr lang="de-DE" sz="3600" b="1" dirty="0">
                <a:ea typeface="Tahoma" pitchFamily="34" charset="0"/>
                <a:cs typeface="Arial" pitchFamily="34" charset="0"/>
              </a:rPr>
              <a:t>Judogi (ab Gruppenebene U15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CB77B6-7994-A7F3-6CE8-C8C3F97A5E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1412776"/>
            <a:ext cx="5976664" cy="4968552"/>
          </a:xfrm>
        </p:spPr>
        <p:txBody>
          <a:bodyPr lIns="72000" rIns="72000" anchor="t"/>
          <a:lstStyle/>
          <a:p>
            <a:pPr marL="0" indent="0" algn="l" fontAlgn="base">
              <a:buNone/>
            </a:pPr>
            <a:endParaRPr lang="de-DE" sz="1400" b="1" u="sng" dirty="0">
              <a:solidFill>
                <a:srgbClr val="000000"/>
              </a:solidFill>
              <a:latin typeface="+mj-lt"/>
            </a:endParaRPr>
          </a:p>
          <a:p>
            <a:pPr marL="0" indent="0" algn="l" fontAlgn="base">
              <a:buNone/>
            </a:pPr>
            <a:r>
              <a:rPr lang="de-DE" sz="1400" b="1" i="0" u="sng" dirty="0">
                <a:solidFill>
                  <a:srgbClr val="000000"/>
                </a:solidFill>
                <a:effectLst/>
                <a:latin typeface="+mj-lt"/>
              </a:rPr>
              <a:t>Hose:</a:t>
            </a:r>
            <a:endParaRPr lang="de-DE" sz="14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Der Abstand zwischen dem unteren Ende der Hose und dem Außenknöchel darf nicht größer als 5 cm sein.</a:t>
            </a:r>
          </a:p>
          <a:p>
            <a:pPr algn="l" fontAlgn="base"/>
            <a:r>
              <a:rPr lang="de-DE" sz="1400" b="0" i="0" dirty="0">
                <a:solidFill>
                  <a:srgbClr val="000000"/>
                </a:solidFill>
                <a:effectLst/>
                <a:latin typeface="+mj-lt"/>
              </a:rPr>
              <a:t>Die Breite muss auf Höhe des Knies zwischen 10 und 15 cm betragen.</a:t>
            </a:r>
          </a:p>
          <a:p>
            <a:pPr marL="0" lvl="0" indent="0">
              <a:buNone/>
            </a:pPr>
            <a:endParaRPr lang="de-DE" sz="1400" kern="100" dirty="0">
              <a:effectLst/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1400" b="1" u="sng" dirty="0">
                <a:solidFill>
                  <a:srgbClr val="000000"/>
                </a:solidFill>
                <a:latin typeface="+mj-lt"/>
              </a:rPr>
              <a:t>Gürtel:</a:t>
            </a:r>
            <a:endParaRPr lang="de-DE" sz="1400" dirty="0">
              <a:solidFill>
                <a:srgbClr val="000000"/>
              </a:solidFill>
              <a:latin typeface="+mj-lt"/>
            </a:endParaRPr>
          </a:p>
          <a:p>
            <a:r>
              <a:rPr lang="de-DE" sz="1400" dirty="0">
                <a:solidFill>
                  <a:srgbClr val="000000"/>
                </a:solidFill>
                <a:latin typeface="+mj-lt"/>
              </a:rPr>
              <a:t>Die Dicke muss zwischen 4 und 5 mm betragen. </a:t>
            </a:r>
          </a:p>
          <a:p>
            <a:r>
              <a:rPr lang="de-DE" sz="1400" dirty="0">
                <a:solidFill>
                  <a:srgbClr val="000000"/>
                </a:solidFill>
                <a:latin typeface="+mj-lt"/>
              </a:rPr>
              <a:t>Die vom zentralen Knoten ausgehenden Enden müssen eine Länge zwischen 20 und 30 cm haben. </a:t>
            </a:r>
          </a:p>
          <a:p>
            <a:r>
              <a:rPr lang="de-DE" sz="1400" dirty="0">
                <a:solidFill>
                  <a:srgbClr val="000000"/>
                </a:solidFill>
                <a:latin typeface="+mj-lt"/>
              </a:rPr>
              <a:t>Der Gürtel darf nicht aus steifem und/oder rutschigem Material bestehen und der Knoten muss richtig und fest gemacht sein.</a:t>
            </a:r>
          </a:p>
          <a:p>
            <a:pPr marL="0" indent="0">
              <a:buNone/>
            </a:pPr>
            <a:endParaRPr lang="de-DE" sz="1400" b="1" u="sng" dirty="0">
              <a:solidFill>
                <a:srgbClr val="000000"/>
              </a:solidFill>
              <a:latin typeface="+mj-lt"/>
            </a:endParaRPr>
          </a:p>
          <a:p>
            <a:pPr marL="0" lvl="0" indent="0">
              <a:buNone/>
            </a:pPr>
            <a:endParaRPr lang="de-DE" sz="1400" b="0" i="0" dirty="0">
              <a:solidFill>
                <a:srgbClr val="ED5C57"/>
              </a:solidFill>
              <a:effectLst/>
              <a:latin typeface="+mj-lt"/>
            </a:endParaRPr>
          </a:p>
          <a:p>
            <a:pPr marL="0" indent="0">
              <a:buNone/>
            </a:pPr>
            <a:endParaRPr lang="de-DE" sz="1400" dirty="0">
              <a:latin typeface="+mj-lt"/>
              <a:ea typeface="Tahoma" pitchFamily="34" charset="0"/>
              <a:cs typeface="Calibri" panose="020F050202020403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2BEC8DC-2A71-A525-D5DA-5F60211385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132" y="4720607"/>
            <a:ext cx="5410478" cy="1619333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543AF8E-5E9E-92E6-5808-D66CC77401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9594" y="1503219"/>
            <a:ext cx="2452886" cy="427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011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 1">
      <a:majorFont>
        <a:latin typeface="Arial Unicode MS"/>
        <a:ea typeface=""/>
        <a:cs typeface=""/>
      </a:majorFont>
      <a:minorFont>
        <a:latin typeface="Arial Unicode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9</Words>
  <Application>Microsoft Office PowerPoint</Application>
  <PresentationFormat>Bildschirmpräsentation (4:3)</PresentationFormat>
  <Paragraphs>46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Arial Unicode MS</vt:lpstr>
      <vt:lpstr>Calibri</vt:lpstr>
      <vt:lpstr>Tahoma</vt:lpstr>
      <vt:lpstr>Times</vt:lpstr>
      <vt:lpstr>Leere Präsentation</vt:lpstr>
      <vt:lpstr>think-cell Folie</vt:lpstr>
      <vt:lpstr>Judogi (ab Gruppenebene U15)</vt:lpstr>
      <vt:lpstr>Judogi (ab Gruppenebene U15)</vt:lpstr>
      <vt:lpstr>Judogi (ab Gruppenebene U15)</vt:lpstr>
      <vt:lpstr>Judogi (ab Gruppenebene U15)</vt:lpstr>
    </vt:vector>
  </TitlesOfParts>
  <Company>PR-Grafi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is Unger</dc:creator>
  <cp:lastModifiedBy>Frost, Marcel</cp:lastModifiedBy>
  <cp:revision>111</cp:revision>
  <cp:lastPrinted>2022-01-13T16:51:04Z</cp:lastPrinted>
  <dcterms:created xsi:type="dcterms:W3CDTF">2005-06-07T10:31:00Z</dcterms:created>
  <dcterms:modified xsi:type="dcterms:W3CDTF">2025-01-24T11:01:32Z</dcterms:modified>
</cp:coreProperties>
</file>